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Chantal Bemeur" initials="CB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antal Bemeur" initials="CB" lastIdx="26" clrIdx="6">
    <p:extLst>
      <p:ext uri="{19B8F6BF-5375-455C-9EA6-DF929625EA0E}">
        <p15:presenceInfo xmlns:p15="http://schemas.microsoft.com/office/powerpoint/2012/main" userId="S-1-5-21-1097746622-914383597-1481268402-182385" providerId="AD"/>
      </p:ext>
    </p:extLst>
  </p:cmAuthor>
  <p:cmAuthor id="1" name="Microsoft Office User" initials="MOU" lastIdx="4" clrIdx="0"/>
  <p:cmAuthor id="8" name="Carine Pare" initials="CP" lastIdx="83" clrIdx="7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2" name="Jeremy N Gooden" initials="JNG" lastIdx="1" clrIdx="1"/>
  <p:cmAuthor id="9" name="Isabelle Dupel" initials="ID" lastIdx="57" clrIdx="8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3" name="Microsoft Office User" initials="Office [5]" lastIdx="1" clrIdx="2"/>
  <p:cmAuthor id="10" name="Lisa Goodlet" initials="LG" lastIdx="1" clrIdx="9">
    <p:extLst>
      <p:ext uri="{19B8F6BF-5375-455C-9EA6-DF929625EA0E}">
        <p15:presenceInfo xmlns:p15="http://schemas.microsoft.com/office/powerpoint/2012/main" userId="S-1-5-21-1097746622-914383597-1481268402-296533" providerId="AD"/>
      </p:ext>
    </p:extLst>
  </p:cmAuthor>
  <p:cmAuthor id="4" name="Microsoft Office User" initials="Office [3]" lastIdx="1" clrIdx="3"/>
  <p:cmAuthor id="11" name="Irma Tabakovic" initials="IT" lastIdx="23" clrIdx="10">
    <p:extLst>
      <p:ext uri="{19B8F6BF-5375-455C-9EA6-DF929625EA0E}">
        <p15:presenceInfo xmlns:p15="http://schemas.microsoft.com/office/powerpoint/2012/main" userId="S-1-5-21-1097746622-914383597-1481268402-208649" providerId="AD"/>
      </p:ext>
    </p:extLst>
  </p:cmAuthor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F9F"/>
    <a:srgbClr val="FFFFAF"/>
    <a:srgbClr val="A80000"/>
    <a:srgbClr val="DAC8B4"/>
    <a:srgbClr val="D5A99B"/>
    <a:srgbClr val="E3C7AB"/>
    <a:srgbClr val="D09F90"/>
    <a:srgbClr val="398B7B"/>
    <a:srgbClr val="ACDED3"/>
    <a:srgbClr val="A3D9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83155" autoAdjust="0"/>
  </p:normalViewPr>
  <p:slideViewPr>
    <p:cSldViewPr snapToGrid="0">
      <p:cViewPr varScale="1">
        <p:scale>
          <a:sx n="94" d="100"/>
          <a:sy n="94" d="100"/>
        </p:scale>
        <p:origin x="124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6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hree icon layout with test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675243"/>
            <a:ext cx="3543300" cy="45510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606537"/>
            <a:ext cx="3543300" cy="380630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411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313E449-AF87-2545-978C-35A6F4CF96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8" y="200025"/>
            <a:ext cx="2428875" cy="23653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682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graphy 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591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417" y="2276872"/>
            <a:ext cx="10363200" cy="368736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5901" y="5589241"/>
            <a:ext cx="626100" cy="288925"/>
          </a:xfrm>
          <a:prstGeom prst="rect">
            <a:avLst/>
          </a:prstGeom>
          <a:ln/>
        </p:spPr>
        <p:txBody>
          <a:bodyPr/>
          <a:lstStyle>
            <a:lvl1pPr>
              <a:defRPr sz="1400" b="0">
                <a:latin typeface="+mj-lt"/>
              </a:defRPr>
            </a:lvl1pPr>
          </a:lstStyle>
          <a:p>
            <a:pPr>
              <a:defRPr/>
            </a:pPr>
            <a:fld id="{CED21A0C-2E3E-4652-8FB0-B1028A97061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9349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A98950-48BD-4C48-BF16-01ED7574D7CE}" type="datetimeFigureOut">
              <a:rPr lang="en-CA" smtClean="0"/>
              <a:t>2023-02-24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BD1D86-A2D7-49AE-8699-E2493E2C53A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0932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Image result for canada wordmark">
            <a:hlinkClick r:id="rId33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  <p:sldLayoutId id="2147483675" r:id="rId24"/>
    <p:sldLayoutId id="2147483676" r:id="rId25"/>
    <p:sldLayoutId id="2147483677" r:id="rId26"/>
    <p:sldLayoutId id="2147483679" r:id="rId27"/>
    <p:sldLayoutId id="2147483682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.jpeg"/><Relationship Id="rId4" Type="http://schemas.openxmlformats.org/officeDocument/2006/relationships/image" Target="../media/image5.jpe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Tours of the new workspace – COMING SO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: FEBRUARY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7c66ac4330373af0de706d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5</TotalTime>
  <Words>14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Tours of the new workspace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9</cp:revision>
  <dcterms:created xsi:type="dcterms:W3CDTF">2018-01-23T15:59:12Z</dcterms:created>
  <dcterms:modified xsi:type="dcterms:W3CDTF">2023-02-24T18:18:44Z</dcterms:modified>
</cp:coreProperties>
</file>